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3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7" r:id="rId2"/>
    <p:sldId id="274" r:id="rId3"/>
    <p:sldId id="275" r:id="rId4"/>
    <p:sldId id="280" r:id="rId5"/>
    <p:sldId id="281" r:id="rId6"/>
    <p:sldId id="276" r:id="rId7"/>
    <p:sldId id="278" r:id="rId8"/>
    <p:sldId id="279" r:id="rId9"/>
    <p:sldId id="285" r:id="rId10"/>
    <p:sldId id="282" r:id="rId11"/>
    <p:sldId id="283" r:id="rId12"/>
    <p:sldId id="284" r:id="rId13"/>
    <p:sldId id="286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7"/>
            <p14:sldId id="274"/>
            <p14:sldId id="275"/>
            <p14:sldId id="280"/>
            <p14:sldId id="281"/>
            <p14:sldId id="276"/>
            <p14:sldId id="278"/>
            <p14:sldId id="279"/>
            <p14:sldId id="285"/>
            <p14:sldId id="282"/>
            <p14:sldId id="283"/>
            <p14:sldId id="284"/>
            <p14:sldId id="286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59" autoAdjust="0"/>
    <p:restoredTop sz="95028" autoAdjust="0"/>
  </p:normalViewPr>
  <p:slideViewPr>
    <p:cSldViewPr snapToGrid="0" showGuides="1">
      <p:cViewPr>
        <p:scale>
          <a:sx n="100" d="100"/>
          <a:sy n="100" d="100"/>
        </p:scale>
        <p:origin x="810" y="31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3.07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3.07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1424F-E0E0-AD79-448C-01EE3E6C64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81C7B3-B2FE-129A-F961-620AD82EC844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DF222F-3BEB-175B-351A-FAC43FBECF87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A766C5-03BC-28B3-DCE5-B78E65A2C640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49860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en-GB" noProof="0" dirty="0" err="1"/>
              <a:t>Brünlital</a:t>
            </a:r>
            <a:r>
              <a:rPr lang="en-GB" noProof="0" dirty="0"/>
              <a:t> TEM</a:t>
            </a:r>
            <a:br>
              <a:rPr lang="en-GB" noProof="0" dirty="0"/>
            </a:br>
            <a:r>
              <a:rPr lang="en-GB" noProof="0" dirty="0"/>
              <a:t>2025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en-GB" noProof="0" dirty="0"/>
              <a:t>Measurements from July 10th, 2025</a:t>
            </a:r>
          </a:p>
          <a:p>
            <a:r>
              <a:rPr lang="en-GB" noProof="0" dirty="0"/>
              <a:t>Jakob Welkens &amp; Peter Balogh</a:t>
            </a:r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45208-BC34-6220-9B76-49E28153F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36E5498-2834-38E9-BAD4-B45DBB03853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0477" y="3014662"/>
            <a:ext cx="2863881" cy="828675"/>
          </a:xfrm>
        </p:spPr>
        <p:txBody>
          <a:bodyPr/>
          <a:lstStyle/>
          <a:p>
            <a:r>
              <a:rPr lang="en-GB" noProof="0" dirty="0"/>
              <a:t>Map of </a:t>
            </a:r>
            <a:br>
              <a:rPr lang="en-GB" noProof="0" dirty="0"/>
            </a:br>
            <a:r>
              <a:rPr lang="en-GB" noProof="0" dirty="0"/>
              <a:t>2D-section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415685-66D9-F8B9-E06C-C37995989BDA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en-GB" noProof="0" smtClean="0"/>
              <a:pPr/>
              <a:t>10</a:t>
            </a:fld>
            <a:endParaRPr lang="en-GB" noProof="0" dirty="0"/>
          </a:p>
        </p:txBody>
      </p:sp>
      <p:pic>
        <p:nvPicPr>
          <p:cNvPr id="3" name="Inhaltsplatzhalter 2">
            <a:extLst>
              <a:ext uri="{FF2B5EF4-FFF2-40B4-BE49-F238E27FC236}">
                <a16:creationId xmlns:a16="http://schemas.microsoft.com/office/drawing/2014/main" id="{CBA5EADB-F884-7FEF-EC63-7E3FB47B92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6581" y="1"/>
            <a:ext cx="8775419" cy="6205600"/>
          </a:xfrm>
        </p:spPr>
      </p:pic>
    </p:spTree>
    <p:extLst>
      <p:ext uri="{BB962C8B-B14F-4D97-AF65-F5344CB8AC3E}">
        <p14:creationId xmlns:p14="http://schemas.microsoft.com/office/powerpoint/2010/main" val="2215572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3E4D1B-99F0-728E-12EC-2ABAFD49C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502" y="261937"/>
            <a:ext cx="9289498" cy="828675"/>
          </a:xfrm>
        </p:spPr>
        <p:txBody>
          <a:bodyPr/>
          <a:lstStyle/>
          <a:p>
            <a:r>
              <a:rPr lang="en-GB" noProof="0" dirty="0"/>
              <a:t>2D-section parallel to valley </a:t>
            </a:r>
          </a:p>
        </p:txBody>
      </p:sp>
      <p:pic>
        <p:nvPicPr>
          <p:cNvPr id="8" name="Inhaltsplatzhalter 7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37A75432-BBCE-9B10-1C68-1751228AD2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" y="1204540"/>
            <a:ext cx="10134600" cy="5067300"/>
          </a:xfr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22EA317-338B-AD41-E58B-81C9F95151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42393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CF77D-9046-8DF8-9B59-8667DBE3E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E351DE-F08F-1AFA-40F5-A8F16C330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502" y="261937"/>
            <a:ext cx="9289498" cy="828675"/>
          </a:xfrm>
        </p:spPr>
        <p:txBody>
          <a:bodyPr/>
          <a:lstStyle/>
          <a:p>
            <a:r>
              <a:rPr lang="en-GB" noProof="0" dirty="0"/>
              <a:t>2D-section perpendicular to valley 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204EC7E6-C153-F7D3-8270-7A7E76F3C5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8700" y="1204540"/>
            <a:ext cx="10134600" cy="5067300"/>
          </a:xfr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22C5A9-8B0A-5B9B-F396-9B268598E4C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1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14605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AF54F-AAF0-A7EE-FCAF-82AA1580F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848430AD-3BB0-5F26-FE8F-A9F52355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Further plan – ideas (please comment on them)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E5662E88-C963-2F6F-6252-A30891FDC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/>
              <a:t>2D-sections for all lines horizontal and vertical to grasp the area coverage</a:t>
            </a:r>
          </a:p>
          <a:p>
            <a:r>
              <a:rPr lang="en-GB" dirty="0"/>
              <a:t>Different starting models (happy about suggestions)</a:t>
            </a:r>
          </a:p>
          <a:p>
            <a:r>
              <a:rPr lang="en-GB" noProof="0" dirty="0"/>
              <a:t>Comparison of region with IP-effects with ERT, SRT and SIP data</a:t>
            </a:r>
          </a:p>
          <a:p>
            <a:r>
              <a:rPr lang="en-GB" dirty="0"/>
              <a:t>Comparison with TEM soundings from last year</a:t>
            </a:r>
            <a:endParaRPr lang="en-GB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E12AE0-A3D7-C67B-A616-8A6568EBBD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1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43835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0477" y="3014662"/>
            <a:ext cx="2863881" cy="828675"/>
          </a:xfrm>
        </p:spPr>
        <p:txBody>
          <a:bodyPr/>
          <a:lstStyle/>
          <a:p>
            <a:r>
              <a:rPr lang="en-GB" noProof="0" dirty="0"/>
              <a:t>Map of </a:t>
            </a:r>
            <a:br>
              <a:rPr lang="en-GB" noProof="0" dirty="0"/>
            </a:br>
            <a:r>
              <a:rPr lang="en-GB" noProof="0" dirty="0"/>
              <a:t>Sounding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en-GB" noProof="0" smtClean="0"/>
              <a:pPr/>
              <a:t>2</a:t>
            </a:fld>
            <a:endParaRPr lang="en-GB" noProof="0" dirty="0"/>
          </a:p>
        </p:txBody>
      </p:sp>
      <p:pic>
        <p:nvPicPr>
          <p:cNvPr id="3" name="Inhaltsplatzhalter 2" descr="Ein Bild, das Text, Screenshot, Karte enthält.&#10;&#10;KI-generierte Inhalte können fehlerhaft sein.">
            <a:extLst>
              <a:ext uri="{FF2B5EF4-FFF2-40B4-BE49-F238E27FC236}">
                <a16:creationId xmlns:a16="http://schemas.microsoft.com/office/drawing/2014/main" id="{AAB7ADFE-BAE8-7F47-1FBB-7D4D350601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581" y="1"/>
            <a:ext cx="8775419" cy="6205600"/>
          </a:xfrm>
        </p:spPr>
      </p:pic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AEB7C-4EF7-7BF5-5CC6-615B9DFA5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asurement Paramet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672D54-0C60-21CA-282E-F62B04979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/>
              <a:t>All soundings were </a:t>
            </a:r>
            <a:r>
              <a:rPr lang="en-GB" noProof="0" dirty="0" err="1"/>
              <a:t>aquired</a:t>
            </a:r>
            <a:r>
              <a:rPr lang="en-GB" noProof="0" dirty="0"/>
              <a:t> using the following parameters on July 10th</a:t>
            </a:r>
          </a:p>
          <a:p>
            <a:pPr lvl="1"/>
            <a:r>
              <a:rPr lang="en-GB" noProof="0" dirty="0"/>
              <a:t>4A of current</a:t>
            </a:r>
          </a:p>
          <a:p>
            <a:pPr lvl="1"/>
            <a:r>
              <a:rPr lang="en-GB" noProof="0" dirty="0"/>
              <a:t>24 V</a:t>
            </a:r>
          </a:p>
          <a:p>
            <a:pPr lvl="1"/>
            <a:r>
              <a:rPr lang="en-GB" noProof="0" dirty="0" err="1"/>
              <a:t>Timekey</a:t>
            </a:r>
            <a:r>
              <a:rPr lang="en-GB" noProof="0" dirty="0"/>
              <a:t> 3 (later values with </a:t>
            </a:r>
            <a:r>
              <a:rPr lang="en-GB" noProof="0" dirty="0" err="1"/>
              <a:t>timekey</a:t>
            </a:r>
            <a:r>
              <a:rPr lang="en-GB" noProof="0" dirty="0"/>
              <a:t> 4 were erroneous)</a:t>
            </a:r>
          </a:p>
          <a:p>
            <a:pPr lvl="1"/>
            <a:r>
              <a:rPr lang="en-GB" noProof="0" dirty="0"/>
              <a:t>Stacking </a:t>
            </a:r>
            <a:r>
              <a:rPr lang="en-GB" noProof="0" dirty="0" err="1"/>
              <a:t>paramter</a:t>
            </a:r>
            <a:r>
              <a:rPr lang="en-GB" noProof="0" dirty="0"/>
              <a:t> 10</a:t>
            </a:r>
          </a:p>
          <a:p>
            <a:pPr lvl="1"/>
            <a:r>
              <a:rPr lang="en-GB" noProof="0" dirty="0"/>
              <a:t>15m loop side lengt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A695D5-8590-D3DB-FEB0-B7F25DAEF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7472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0FDB7-8F4F-F107-85DD-DE9239968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77AFCD-72C2-608B-B2EE-EB7DD4ABE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en-GB" noProof="0" dirty="0"/>
              <a:t>Data Overview – Area Coverag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D794256-FF24-A6A2-0351-95F4694F1E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4</a:t>
            </a:fld>
            <a:endParaRPr lang="en-GB" noProof="0" dirty="0"/>
          </a:p>
        </p:txBody>
      </p:sp>
      <p:pic>
        <p:nvPicPr>
          <p:cNvPr id="10" name="Inhaltsplatzhalter 9" descr="Ein Bild, das Text, Screenshot, Karte, Diagramm enthält.&#10;&#10;KI-generierte Inhalte können fehlerhaft sein.">
            <a:extLst>
              <a:ext uri="{FF2B5EF4-FFF2-40B4-BE49-F238E27FC236}">
                <a16:creationId xmlns:a16="http://schemas.microsoft.com/office/drawing/2014/main" id="{DDAB4584-477A-C572-670E-E912983E5B4A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" y="1949116"/>
            <a:ext cx="6420574" cy="4267373"/>
          </a:xfrm>
        </p:spPr>
      </p:pic>
      <p:pic>
        <p:nvPicPr>
          <p:cNvPr id="14" name="Inhaltsplatzhalter 13" descr="Ein Bild, das Text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6A42EF5A-7A0E-721C-11E4-705230D9A28B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439" y="1347537"/>
            <a:ext cx="5487911" cy="4876973"/>
          </a:xfrm>
        </p:spPr>
      </p:pic>
    </p:spTree>
    <p:extLst>
      <p:ext uri="{BB962C8B-B14F-4D97-AF65-F5344CB8AC3E}">
        <p14:creationId xmlns:p14="http://schemas.microsoft.com/office/powerpoint/2010/main" val="4271513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688D5-F576-442B-6939-30CE962C1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CBD7EA-89A8-69F0-4280-625AD277E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en-GB" noProof="0" dirty="0"/>
              <a:t>Data Overview – Profile Coverag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B47B9F8-B449-B4F6-A184-CDF970B696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5</a:t>
            </a:fld>
            <a:endParaRPr lang="en-GB" noProof="0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9DF33E25-0548-BEF6-5A7C-8138E89B5E8E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942" y="1949116"/>
            <a:ext cx="6420574" cy="4267373"/>
          </a:xfrm>
        </p:spPr>
      </p:pic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ABDBE51F-5B63-AB83-6231-A839F989570B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9439" y="1347537"/>
            <a:ext cx="5487911" cy="4876973"/>
          </a:xfrm>
        </p:spPr>
      </p:pic>
    </p:spTree>
    <p:extLst>
      <p:ext uri="{BB962C8B-B14F-4D97-AF65-F5344CB8AC3E}">
        <p14:creationId xmlns:p14="http://schemas.microsoft.com/office/powerpoint/2010/main" val="855879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E0EA91-066B-F219-7F67-C5509C6D4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Inversion Parameters – Starting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B73F8B-4430-507E-D31E-FD61FED32BCA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r>
              <a:rPr lang="en-GB" noProof="0" dirty="0"/>
              <a:t>3 layer inversion</a:t>
            </a:r>
          </a:p>
          <a:p>
            <a:r>
              <a:rPr lang="en-GB" noProof="0" dirty="0"/>
              <a:t>Filter 5-100</a:t>
            </a:r>
            <a:r>
              <a:rPr lang="en-GB" noProof="0" dirty="0">
                <a:sym typeface="Symbol" panose="05050102010706020507" pitchFamily="18" charset="2"/>
              </a:rPr>
              <a:t>s</a:t>
            </a:r>
            <a:endParaRPr lang="en-GB" noProof="0" dirty="0"/>
          </a:p>
          <a:p>
            <a:r>
              <a:rPr lang="en-GB" noProof="0" dirty="0" err="1"/>
              <a:t>thk</a:t>
            </a:r>
            <a:r>
              <a:rPr lang="en-GB" noProof="0" dirty="0"/>
              <a:t> = [5, 5, 8]</a:t>
            </a:r>
          </a:p>
          <a:p>
            <a:r>
              <a:rPr lang="en-GB" noProof="0" dirty="0"/>
              <a:t>res = [50, 1500, 1500, 500]</a:t>
            </a:r>
          </a:p>
          <a:p>
            <a:r>
              <a:rPr lang="en-GB" noProof="0" dirty="0" err="1"/>
              <a:t>mpa</a:t>
            </a:r>
            <a:r>
              <a:rPr lang="en-GB" noProof="0" dirty="0"/>
              <a:t> = [0.0, 0.4, 0.4, 0.0]</a:t>
            </a:r>
          </a:p>
          <a:p>
            <a:r>
              <a:rPr lang="en-GB" noProof="0" dirty="0" err="1"/>
              <a:t>taup</a:t>
            </a:r>
            <a:r>
              <a:rPr lang="en-GB" noProof="0" dirty="0"/>
              <a:t> = [1e-6, 5e-4, 5e-4, 1e-6]</a:t>
            </a:r>
          </a:p>
          <a:p>
            <a:r>
              <a:rPr lang="en-GB" noProof="0" dirty="0"/>
              <a:t>c = [0.1, 0.7, 0.7, 0.1]</a:t>
            </a:r>
          </a:p>
          <a:p>
            <a:endParaRPr lang="en-GB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C2F4AC-D3F1-E97A-6B73-00033B81D201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424937" y="3047786"/>
            <a:ext cx="4894704" cy="2676739"/>
          </a:xfrm>
        </p:spPr>
        <p:txBody>
          <a:bodyPr/>
          <a:lstStyle/>
          <a:p>
            <a:r>
              <a:rPr lang="en-GB" noProof="0" dirty="0"/>
              <a:t>4 layer inversion</a:t>
            </a:r>
          </a:p>
          <a:p>
            <a:r>
              <a:rPr lang="en-GB" noProof="0" dirty="0"/>
              <a:t>Filter 5-100</a:t>
            </a:r>
            <a:r>
              <a:rPr lang="en-GB" noProof="0" dirty="0">
                <a:sym typeface="Symbol" panose="05050102010706020507" pitchFamily="18" charset="2"/>
              </a:rPr>
              <a:t>s</a:t>
            </a:r>
            <a:endParaRPr lang="en-GB" noProof="0" dirty="0"/>
          </a:p>
          <a:p>
            <a:r>
              <a:rPr lang="en-GB" noProof="0" dirty="0" err="1"/>
              <a:t>thk</a:t>
            </a:r>
            <a:r>
              <a:rPr lang="en-GB" noProof="0" dirty="0"/>
              <a:t> = [4, 4, 4, 8]</a:t>
            </a:r>
          </a:p>
          <a:p>
            <a:r>
              <a:rPr lang="en-GB" noProof="0" dirty="0"/>
              <a:t>res = [50, 1500, 1500, 500, 500]</a:t>
            </a:r>
          </a:p>
          <a:p>
            <a:r>
              <a:rPr lang="en-GB" noProof="0" dirty="0" err="1"/>
              <a:t>mpa</a:t>
            </a:r>
            <a:r>
              <a:rPr lang="en-GB" noProof="0" dirty="0"/>
              <a:t> = [0.0, 0.4, 0.4, 0.4, 0.0]</a:t>
            </a:r>
          </a:p>
          <a:p>
            <a:r>
              <a:rPr lang="en-GB" noProof="0" dirty="0" err="1"/>
              <a:t>taup</a:t>
            </a:r>
            <a:r>
              <a:rPr lang="en-GB" noProof="0" dirty="0"/>
              <a:t> = [1e-6, 5e-4, 5e-4, 1e-6, 1e-6]</a:t>
            </a:r>
          </a:p>
          <a:p>
            <a:r>
              <a:rPr lang="en-GB" noProof="0" dirty="0"/>
              <a:t>c = [0.1, 0.7, 0.7, 0.1, 0.1]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C81AD9-E71D-8F34-93BA-C6795FB5C9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7833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25DB6C-F37E-3135-2CF8-AD4D7E6BD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en-GB" noProof="0" dirty="0"/>
              <a:t>Inversion Parameters – Starting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93CB4D-B9BB-2993-E0BF-C03C87951C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en-GB" noProof="0" dirty="0"/>
              <a:t>Sounding B004, 3 Layer Model</a:t>
            </a:r>
          </a:p>
        </p:txBody>
      </p:sp>
      <p:pic>
        <p:nvPicPr>
          <p:cNvPr id="11" name="Inhaltsplatzhalter 10" descr="Ein Bild, das Text, Diagramm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6210274B-07A9-9D04-A151-8F0D1ABFF2E4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7" y="2223923"/>
            <a:ext cx="6557497" cy="3278748"/>
          </a:xfrm>
        </p:spPr>
      </p:pic>
      <p:pic>
        <p:nvPicPr>
          <p:cNvPr id="13" name="Inhaltsplatzhalter 12" descr="Ein Bild, das Text, Diagramm, Screenshot, Zahl enthält.&#10;&#10;KI-generierte Inhalte können fehlerhaft sein.">
            <a:extLst>
              <a:ext uri="{FF2B5EF4-FFF2-40B4-BE49-F238E27FC236}">
                <a16:creationId xmlns:a16="http://schemas.microsoft.com/office/drawing/2014/main" id="{84E3C640-C81E-60AD-ECE3-B0F37BCE7092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332186"/>
            <a:ext cx="4392340" cy="4392340"/>
          </a:xfr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544A70C-79DB-D3A1-07CE-42F019A2DE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1875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D7DA4-37F4-0118-DF28-1F1A33A96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D2512D-97AA-E4E6-3D8B-3F99D336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en-GB" noProof="0" dirty="0"/>
              <a:t>Inversion Parameters – Starting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E13427-00AE-F92C-C418-4130742A1E8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en-GB" noProof="0" dirty="0"/>
              <a:t>Sounding B004, 4 Layer Mod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72645-9B05-4370-36E2-5E66365CB3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15" name="Inhaltsplatzhalter 14" descr="Ein Bild, das Text, Diagramm, Plan, Reihe enthält.&#10;&#10;KI-generierte Inhalte können fehlerhaft sein.">
            <a:extLst>
              <a:ext uri="{FF2B5EF4-FFF2-40B4-BE49-F238E27FC236}">
                <a16:creationId xmlns:a16="http://schemas.microsoft.com/office/drawing/2014/main" id="{5B390234-A676-111C-4CA2-B5FB31055E1F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229710"/>
            <a:ext cx="4494815" cy="4494815"/>
          </a:xfrm>
        </p:spPr>
      </p:pic>
      <p:pic>
        <p:nvPicPr>
          <p:cNvPr id="19" name="Inhaltsplatzhalter 18" descr="Ein Bild, das Text, Diagramm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4B227161-1383-9313-78D5-6E26CF7EF805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31" y="2015058"/>
            <a:ext cx="6975229" cy="3487614"/>
          </a:xfrm>
        </p:spPr>
      </p:pic>
    </p:spTree>
    <p:extLst>
      <p:ext uri="{BB962C8B-B14F-4D97-AF65-F5344CB8AC3E}">
        <p14:creationId xmlns:p14="http://schemas.microsoft.com/office/powerpoint/2010/main" val="4133938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DBB8586F-C784-898B-282A-832CE336B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Interpretatio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2A1ABE67-70DE-D5AE-FBEE-7C9BFC2D25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/>
              <a:t>The IP-layer is visible in all soundings, but not always with the same extent</a:t>
            </a:r>
          </a:p>
          <a:p>
            <a:r>
              <a:rPr lang="en-GB" noProof="0" dirty="0"/>
              <a:t>Using the 4 layer model appears to give more details in the inversion but the </a:t>
            </a:r>
            <a:r>
              <a:rPr lang="en-GB" noProof="0" dirty="0" err="1"/>
              <a:t>rrms</a:t>
            </a:r>
            <a:r>
              <a:rPr lang="en-GB" noProof="0" dirty="0"/>
              <a:t> and chi2 are always rather high</a:t>
            </a:r>
          </a:p>
          <a:p>
            <a:r>
              <a:rPr lang="en-GB" noProof="0" dirty="0"/>
              <a:t>For sounding B004 (the previous slides) the IP layer probably starts at about 2-3m depth and has a thickness of maybe 10m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092DD01-A069-6AE8-2A26-4954B61DB7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41634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50710_prelim_results</Template>
  <TotalTime>0</TotalTime>
  <Words>360</Words>
  <Application>Microsoft Office PowerPoint</Application>
  <PresentationFormat>Breitbild</PresentationFormat>
  <Paragraphs>59</Paragraphs>
  <Slides>1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6" baseType="lpstr">
      <vt:lpstr>Symbol</vt:lpstr>
      <vt:lpstr>Arial</vt:lpstr>
      <vt:lpstr>TU Wien</vt:lpstr>
      <vt:lpstr>Brünlital TEM 2025</vt:lpstr>
      <vt:lpstr>Map of  Soundings</vt:lpstr>
      <vt:lpstr>Measurement Parameters</vt:lpstr>
      <vt:lpstr>Data Overview – Area Coverage</vt:lpstr>
      <vt:lpstr>Data Overview – Profile Coverage</vt:lpstr>
      <vt:lpstr>Inversion Parameters – Starting Model</vt:lpstr>
      <vt:lpstr>Inversion Parameters – Starting Model</vt:lpstr>
      <vt:lpstr>Inversion Parameters – Starting Model</vt:lpstr>
      <vt:lpstr>Interpretation</vt:lpstr>
      <vt:lpstr>Map of  2D-sections</vt:lpstr>
      <vt:lpstr>2D-section parallel to valley </vt:lpstr>
      <vt:lpstr>2D-section perpendicular to valley </vt:lpstr>
      <vt:lpstr>Further plan – ideas (please comment on them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elkens, Jakob</dc:creator>
  <cp:lastModifiedBy>Welkens, Jakob</cp:lastModifiedBy>
  <cp:revision>6</cp:revision>
  <dcterms:created xsi:type="dcterms:W3CDTF">2025-07-12T09:03:18Z</dcterms:created>
  <dcterms:modified xsi:type="dcterms:W3CDTF">2025-07-23T12:2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